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200" d="100"/>
          <a:sy n="200" d="100"/>
        </p:scale>
        <p:origin x="-11106" y="-1908"/>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6FC9818A-A0F9-4768-81AE-B46FDA84CB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3DB89894-1F1F-4180-879A-F787821653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630EFA73-D58A-4196-9146-A392E2BC5E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7</c:v>
                </c:pt>
                <c:pt idx="1">
                  <c:v>0.32</c:v>
                </c:pt>
                <c:pt idx="2">
                  <c:v>0.34</c:v>
                </c:pt>
                <c:pt idx="3">
                  <c:v>7.0000000000000007E-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7%</c:v>
                  </c:pt>
                  <c:pt idx="1">
                    <c:v>32%</c:v>
                  </c:pt>
                  <c:pt idx="2">
                    <c:v>34%</c:v>
                  </c:pt>
                  <c:pt idx="3">
                    <c:v>7%</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70764222-281A-475E-8011-73A1DDD8B3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E5E39FA8-0DC9-4D1F-825F-3284822EE7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A1BF66FF-B269-42AB-BC97-DFD1BF947C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8</c:v>
                </c:pt>
                <c:pt idx="2">
                  <c:v>0.5</c:v>
                </c:pt>
                <c:pt idx="3">
                  <c:v>0.3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18%</c:v>
                  </c:pt>
                  <c:pt idx="2">
                    <c:v>50%</c:v>
                  </c:pt>
                  <c:pt idx="3">
                    <c:v>31%</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8</c:v>
                </c:pt>
                <c:pt idx="1">
                  <c:v>0.88</c:v>
                </c:pt>
                <c:pt idx="2">
                  <c:v>0.9</c:v>
                </c:pt>
                <c:pt idx="3">
                  <c:v>0.9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5F3607DE-2FC3-4A96-BD2C-FD33E10658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66D687BB-2EE8-4FAC-BDBE-8A4ABFE8DB3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BE863AE4-C2B7-416E-8F3C-ED3F8EE8AEA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2</c:v>
                </c:pt>
                <c:pt idx="1">
                  <c:v>0.12</c:v>
                </c:pt>
                <c:pt idx="2">
                  <c:v>0.1</c:v>
                </c:pt>
                <c:pt idx="3">
                  <c:v>0.0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8%</c:v>
                  </c:pt>
                  <c:pt idx="1">
                    <c:v>88%</c:v>
                  </c:pt>
                  <c:pt idx="2">
                    <c:v>90%</c:v>
                  </c:pt>
                  <c:pt idx="3">
                    <c:v>98%</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A190CEE5-94F5-4D9D-A256-A15613E9B12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83A04A4F-610E-46BE-809B-6D575266A24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9B8EE562-7403-4C71-97F3-A947DE878F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3D19DD6F-2389-4F17-946D-F80AD3AAE24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9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004B0C5D-931C-4F5E-B12A-D817300B07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3199BAFD-1081-47B4-81D7-17F3B87B4CC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192C2242-11C2-4F96-84FA-3E86DE3F6B1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FC881E26-4E95-4BB4-BEF2-68470F51C9F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0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91%</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B15A3565-DE7E-49D7-A97F-F959ADC2DB6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AD5FC282-9D6E-49FE-8B7C-6BA6D511AA8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9%</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c:v>
                </c:pt>
                <c:pt idx="1">
                  <c:v>0.83</c:v>
                </c:pt>
                <c:pt idx="2">
                  <c:v>0.92</c:v>
                </c:pt>
                <c:pt idx="3">
                  <c:v>0.91</c:v>
                </c:pt>
                <c:pt idx="4">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974FB6A1-A6D9-4C83-8D88-6FDF0089706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4596163A-E2EE-452F-BED1-4C120557A12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F00BAE51-D59A-441D-BAFC-98184E55DE8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2BF811A0-DEFC-431C-8F97-0B86A902EE7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c:v>
                </c:pt>
                <c:pt idx="1">
                  <c:v>0.17</c:v>
                </c:pt>
                <c:pt idx="2">
                  <c:v>0.08</c:v>
                </c:pt>
                <c:pt idx="3">
                  <c:v>0.09</c:v>
                </c:pt>
                <c:pt idx="4">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0%</c:v>
                  </c:pt>
                  <c:pt idx="1">
                    <c:v>83%</c:v>
                  </c:pt>
                  <c:pt idx="2">
                    <c:v>92%</c:v>
                  </c:pt>
                  <c:pt idx="3">
                    <c:v>91%</c:v>
                  </c:pt>
                  <c:pt idx="4">
                    <c:v>86%</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9</c:v>
                </c:pt>
                <c:pt idx="2">
                  <c:v>0.9</c:v>
                </c:pt>
                <c:pt idx="3">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1CF489CF-D5A8-4E9D-A737-08049D53A20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497116C-0C9B-4118-8595-73E2C49E6CA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0962045C-9E7C-4860-A660-961E0A9C2C6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1</c:v>
                </c:pt>
                <c:pt idx="2">
                  <c:v>0.1</c:v>
                </c:pt>
                <c:pt idx="3">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79%</c:v>
                  </c:pt>
                  <c:pt idx="2">
                    <c:v>90%</c:v>
                  </c:pt>
                  <c:pt idx="3">
                    <c:v>92%</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78</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1E00970A-BF8A-486C-B43E-622EE4D336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92FD67BA-96A6-412A-8A40-FBCB46B96D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7EFC90F5-47C5-44ED-A1DB-168B7AB22E1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34A38B10-1615-49AB-9DE9-AEB2B794DAB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22</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c:v>
                  </c:pt>
                  <c:pt idx="2">
                    <c:v>78%</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6</c:v>
                </c:pt>
                <c:pt idx="1">
                  <c:v>0.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32BE0853-3E90-4A56-8E97-6F11C07C5D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2B559765-C1EF-4E99-B62F-B28F14D7744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0CE96D8F-CF9E-4F4B-8F55-62E42FEB442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95A3DEAE-5E1B-4E1D-9737-EFA13CB2ED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4000000000000001</c:v>
                </c:pt>
                <c:pt idx="1">
                  <c:v>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90%</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68DB5150-552E-4A01-B1BE-4AFF197ABE7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A2900EE9-9A99-45CD-BEA2-F8C4300E69B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9%</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88</c:v>
                </c:pt>
                <c:pt idx="2">
                  <c:v>2</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1</c:v>
                </c:pt>
                <c:pt idx="1">
                  <c:v>7</c:v>
                </c:pt>
                <c:pt idx="2">
                  <c:v>1</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6FE00AC2-306A-4C15-B822-D10DB6EA6D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F59AAEF7-FB99-4290-8EB7-5C37B0CFF3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r>
                      <a:rPr lang="en-GB"/>
                      <a:t>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15E-48E7-9278-D03DDCBD9794}"/>
                </c:ext>
              </c:extLst>
            </c:dLbl>
            <c:dLbl>
              <c:idx val="4"/>
              <c:tx>
                <c:rich>
                  <a:bodyPr/>
                  <a:lstStyle/>
                  <a:p>
                    <a:fld id="{D5FF1EE6-2597-4470-B460-7C4817E223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716A6D70-CFDE-4B32-9D3A-78D9FF0073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7B0EB012-6FAC-4BEE-8FE4-7A09E5186D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3</c:v>
                </c:pt>
                <c:pt idx="1">
                  <c:v>6</c:v>
                </c:pt>
                <c:pt idx="2">
                  <c:v>3</c:v>
                </c:pt>
                <c:pt idx="3">
                  <c:v>4</c:v>
                </c:pt>
                <c:pt idx="4">
                  <c:v>3</c:v>
                </c:pt>
                <c:pt idx="5">
                  <c:v>3</c:v>
                </c:pt>
                <c:pt idx="6">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3%</c:v>
                  </c:pt>
                  <c:pt idx="1">
                    <c:v>6%</c:v>
                  </c:pt>
                  <c:pt idx="2">
                    <c:v>3%</c:v>
                  </c:pt>
                  <c:pt idx="3">
                    <c:v>4%p</c:v>
                  </c:pt>
                  <c:pt idx="4">
                    <c:v>3%</c:v>
                  </c:pt>
                  <c:pt idx="5">
                    <c:v>3%</c:v>
                  </c:pt>
                  <c:pt idx="6">
                    <c:v>37%</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3B39A572-891D-4076-AC17-17B45E9975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5760258A-8EBD-4A4A-BC45-5AC464F095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05C-4A2F-9A88-03A72AE7F3F6}"/>
                </c:ext>
              </c:extLst>
            </c:dLbl>
            <c:dLbl>
              <c:idx val="4"/>
              <c:tx>
                <c:rich>
                  <a:bodyPr/>
                  <a:lstStyle/>
                  <a:p>
                    <a:fld id="{EA6DCDA5-A839-437E-BE16-9D47C21FA0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ACFEE53C-2300-4F37-BD12-214BF3138A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FA092BE1-F6C1-4590-9F78-70047B271A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6</c:v>
                </c:pt>
                <c:pt idx="1">
                  <c:v>8</c:v>
                </c:pt>
                <c:pt idx="2">
                  <c:v>3</c:v>
                </c:pt>
                <c:pt idx="3">
                  <c:v>6</c:v>
                </c:pt>
                <c:pt idx="4">
                  <c:v>16</c:v>
                </c:pt>
                <c:pt idx="5">
                  <c:v>6</c:v>
                </c:pt>
                <c:pt idx="6">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6%</c:v>
                  </c:pt>
                  <c:pt idx="1">
                    <c:v>8%</c:v>
                  </c:pt>
                  <c:pt idx="2">
                    <c:v>3%</c:v>
                  </c:pt>
                  <c:pt idx="3">
                    <c:v>6%p</c:v>
                  </c:pt>
                  <c:pt idx="4">
                    <c:v>16%</c:v>
                  </c:pt>
                  <c:pt idx="5">
                    <c:v>6%</c:v>
                  </c:pt>
                  <c:pt idx="6">
                    <c:v>37%</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DC9E851F-AA40-4E57-8535-EF223E42B9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0A470719-1252-49F5-A9A4-4DB61E9C50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1618C20B-B1AA-4FAF-ACC7-301BAFB5C8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7DD2B666-88C7-4AEB-A982-AB95843280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E98A51B2-BA09-4A60-925A-6742309D55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7793802D-E565-4E6A-87F8-4291BC690A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7</c:v>
                </c:pt>
                <c:pt idx="1">
                  <c:v>8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7%</c:v>
                  </c:pt>
                  <c:pt idx="1">
                    <c:v>83%</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18733A17-3AD1-4EB2-81EB-498063793F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7551EF48-14D6-4F7F-B739-0ADC4F3650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BC8FE676-EE92-4667-9E6E-56A3071F9C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A2857242-A698-4930-8647-484B04DACA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6%</c:v>
                  </c:pt>
                  <c:pt idx="1">
                    <c:v>44%</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1D7C73FC-2F16-4B74-91E3-BDF1045FFE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747C7BB2-5E36-4189-88ED-88D9C5707A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EF13DCA6-BB6B-44AF-881C-E10CB1CB8F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3EAE116D-5399-4763-9370-FF8FFFFF34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63FB8C05-E5EC-4D49-9E81-3775CB0F61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9717D399-0B67-49B0-BECE-0FDC45F895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33DABC1E-E080-4CB9-B312-19869EE869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E7C8BC76-1BF5-45B2-BC69-751AD78ECD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25EE1059-CA0B-4470-846D-380FB07DBA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95849D75-27BA-4A62-8028-5516D4ABC3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c:v>
                  </c:pt>
                  <c:pt idx="1">
                    <c:v>94%</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1388551B-D23E-4D17-B1FE-144E71C4F5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6FEB9E24-745B-489B-927A-BD9A763B3F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96071C0C-3FBC-41A5-B8AF-13A30DEA35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7EC732E2-C3E9-4F83-9C14-7020BF4AE8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D419A226-DAB9-47E0-944B-2340C2F1FB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44DECF2F-DB68-45E4-A0AE-293549AB7F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E0B2CD53-9266-46CC-8D4A-009CAE1042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92</c:v>
                </c:pt>
                <c:pt idx="2">
                  <c:v>80</c:v>
                </c:pt>
                <c:pt idx="3">
                  <c:v>72</c:v>
                </c:pt>
                <c:pt idx="4">
                  <c:v>93</c:v>
                </c:pt>
                <c:pt idx="5">
                  <c:v>33</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0%</c:v>
                  </c:pt>
                  <c:pt idx="1">
                    <c:v>92%</c:v>
                  </c:pt>
                  <c:pt idx="2">
                    <c:v>80%</c:v>
                  </c:pt>
                  <c:pt idx="3">
                    <c:v>72%</c:v>
                  </c:pt>
                  <c:pt idx="4">
                    <c:v>93%</c:v>
                  </c:pt>
                  <c:pt idx="5">
                    <c:v>33%</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12145873-2A32-4C7F-90DC-B2A0156FC0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F5CF7B1E-2C7F-447F-A4DC-488A5C51175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7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ED5978CF-F10B-44D7-9CFF-AF3B529D00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BE42293A-B338-4A9D-8A26-9E36D0B8A8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DE11A1EC-2081-4E00-A1A3-4BE77C772B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2B7260E4-3AAD-4B09-B737-ECE4A0EB30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9</c:v>
                </c:pt>
                <c:pt idx="2">
                  <c:v>76</c:v>
                </c:pt>
                <c:pt idx="3">
                  <c:v>67</c:v>
                </c:pt>
                <c:pt idx="4">
                  <c:v>89</c:v>
                </c:pt>
                <c:pt idx="5">
                  <c:v>43</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0%</c:v>
                  </c:pt>
                  <c:pt idx="1">
                    <c:v>89%</c:v>
                  </c:pt>
                  <c:pt idx="2">
                    <c:v>76%p</c:v>
                  </c:pt>
                  <c:pt idx="3">
                    <c:v>67%</c:v>
                  </c:pt>
                  <c:pt idx="4">
                    <c:v>89%</c:v>
                  </c:pt>
                  <c:pt idx="5">
                    <c:v>43%</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6</c:v>
                </c:pt>
                <c:pt idx="1">
                  <c:v>30</c:v>
                </c:pt>
                <c:pt idx="2">
                  <c:v>9</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5</c:v>
                </c:pt>
                <c:pt idx="1">
                  <c:v>37</c:v>
                </c:pt>
                <c:pt idx="2">
                  <c:v>13</c:v>
                </c:pt>
                <c:pt idx="3">
                  <c:v>4</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86BA627C-677B-4C1B-A407-ACE4275C93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8A6F7177-6048-4F0A-90AC-05E40561C0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1</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100%</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4FE4B559-A0FA-4B8B-BD81-C339575BC4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B435C422-6EA2-4270-99FB-D2CDB55672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8</c:v>
                </c:pt>
                <c:pt idx="1">
                  <c:v>28</c:v>
                </c:pt>
                <c:pt idx="2">
                  <c:v>6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5</c:v>
                </c:pt>
                <c:pt idx="1">
                  <c:v>49</c:v>
                </c:pt>
                <c:pt idx="2">
                  <c:v>4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8</c:v>
                </c:pt>
                <c:pt idx="2">
                  <c:v>31</c:v>
                </c:pt>
                <c:pt idx="3">
                  <c:v>19</c:v>
                </c:pt>
                <c:pt idx="4">
                  <c:v>2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26</c:v>
                </c:pt>
                <c:pt idx="2">
                  <c:v>21</c:v>
                </c:pt>
                <c:pt idx="3">
                  <c:v>16</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214</c:v>
                </c:pt>
                <c:pt idx="1">
                  <c:v>0.214</c:v>
                </c:pt>
                <c:pt idx="2">
                  <c:v>0.23</c:v>
                </c:pt>
                <c:pt idx="3">
                  <c:v>0.17699999999999999</c:v>
                </c:pt>
                <c:pt idx="4">
                  <c:v>0.166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24199999999999999</c:v>
                </c:pt>
                <c:pt idx="1">
                  <c:v>0.21</c:v>
                </c:pt>
                <c:pt idx="2">
                  <c:v>0.19800000000000001</c:v>
                </c:pt>
                <c:pt idx="3">
                  <c:v>0.17699999999999999</c:v>
                </c:pt>
                <c:pt idx="4">
                  <c:v>0.172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15</c:v>
                </c:pt>
                <c:pt idx="2">
                  <c:v>25</c:v>
                </c:pt>
                <c:pt idx="3">
                  <c:v>23</c:v>
                </c:pt>
                <c:pt idx="4">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9</c:v>
                </c:pt>
                <c:pt idx="2">
                  <c:v>19</c:v>
                </c:pt>
                <c:pt idx="3">
                  <c:v>24</c:v>
                </c:pt>
                <c:pt idx="4">
                  <c:v>2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24</c:v>
                </c:pt>
                <c:pt idx="2">
                  <c:v>28</c:v>
                </c:pt>
                <c:pt idx="3">
                  <c:v>20</c:v>
                </c:pt>
                <c:pt idx="4">
                  <c:v>1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9</c:v>
                </c:pt>
                <c:pt idx="1">
                  <c:v>32</c:v>
                </c:pt>
                <c:pt idx="2">
                  <c:v>20</c:v>
                </c:pt>
                <c:pt idx="3">
                  <c:v>11</c:v>
                </c:pt>
                <c:pt idx="4">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3E2AB06A-189F-4D34-AF32-89E3BCDE27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6703FC74-7D0F-41F7-86AF-EE386D91FB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CF42B364-F5F1-4410-B50C-78E37EDEDD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C0596BF0-D6B4-47A7-B767-D080D9C2CD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5</c:v>
                </c:pt>
                <c:pt idx="1">
                  <c:v>0</c:v>
                </c:pt>
                <c:pt idx="2">
                  <c:v>0.03</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5%</c:v>
                  </c:pt>
                  <c:pt idx="1">
                    <c:v>-</c:v>
                  </c:pt>
                  <c:pt idx="2">
                    <c:v>3%</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0CDE485A-E734-4E29-8B8F-8329FC1218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28AA3720-D4D9-46F1-A4FA-55A539A47E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23218A6E-3323-4AF4-91FE-5EF582B4B4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8991A693-7EC3-4BDD-883E-366239D22DD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c:v>
                </c:pt>
                <c:pt idx="1">
                  <c:v>0</c:v>
                </c:pt>
                <c:pt idx="2">
                  <c:v>7.0000000000000007E-2</c:v>
                </c:pt>
                <c:pt idx="3">
                  <c:v>0.02</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90%</c:v>
                  </c:pt>
                  <c:pt idx="1">
                    <c:v>-</c:v>
                  </c:pt>
                  <c:pt idx="2">
                    <c:v>7%</c:v>
                  </c:pt>
                  <c:pt idx="3">
                    <c:v>2%</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1</c:v>
                </c:pt>
                <c:pt idx="2">
                  <c:v>28</c:v>
                </c:pt>
                <c:pt idx="3">
                  <c:v>20</c:v>
                </c:pt>
                <c:pt idx="4">
                  <c:v>3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5</c:v>
                </c:pt>
                <c:pt idx="2">
                  <c:v>24</c:v>
                </c:pt>
                <c:pt idx="3">
                  <c:v>19</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0</c:v>
                </c:pt>
                <c:pt idx="1">
                  <c:v>24</c:v>
                </c:pt>
                <c:pt idx="2">
                  <c:v>45</c:v>
                </c:pt>
                <c:pt idx="3">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4</c:v>
                </c:pt>
                <c:pt idx="1">
                  <c:v>35</c:v>
                </c:pt>
                <c:pt idx="2">
                  <c:v>33</c:v>
                </c:pt>
                <c:pt idx="3">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1</c:v>
                </c:pt>
                <c:pt idx="1">
                  <c:v>43</c:v>
                </c:pt>
                <c:pt idx="2">
                  <c:v>11</c:v>
                </c:pt>
                <c:pt idx="3">
                  <c:v>2</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3</c:v>
                </c:pt>
                <c:pt idx="2">
                  <c:v>5</c:v>
                </c:pt>
                <c:pt idx="3">
                  <c:v>1</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0</c:v>
                </c:pt>
                <c:pt idx="2">
                  <c:v>14</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51</c:v>
                </c:pt>
                <c:pt idx="2">
                  <c:v>1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876DF88C-82E0-4BBC-8E9C-5222AE4E84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C51AC77A-D70D-4C89-AC94-EF610783FA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990B8FF1-6F79-4C49-8235-6AE666C132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6601F45E-0552-43B2-BA3D-9BCD5E5381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D4DA77F5-8B82-4F73-9338-D54415F1EB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4D8827CE-BB06-4691-ABDF-2BF1EDA95A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6</c:v>
                </c:pt>
                <c:pt idx="1">
                  <c:v>4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6%</c:v>
                  </c:pt>
                  <c:pt idx="1">
                    <c:v>44%</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2C86336A-FF16-486F-B77A-21E696451C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3DB1432E-0643-43ED-8401-314AAB0813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6CDB6909-6391-4F55-A26F-CACDD6C869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C5A01177-60C1-4825-8797-CB3DB31036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CCA37543-C0F2-49C5-B85A-9227F7203E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F4DB605C-A399-4A2C-B33A-C9F8937C7D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694C8651-891C-44F9-906F-65160F19E3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936B5BD9-F61B-4ADF-ABC3-F57998B81D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2DA2CA21-717C-4D23-9EED-07CCA953FD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637FADA4-3193-45BC-9E6C-F72EF36F02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3</c:v>
                </c:pt>
                <c:pt idx="1">
                  <c:v>6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3%</c:v>
                  </c:pt>
                  <c:pt idx="1">
                    <c:v>67%</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037EBE5E-5B4A-4D4D-9082-E80774FD4F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8B780DD4-319E-4D27-BC65-A052067447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FA6157EE-E4BF-4444-9E48-9250E268C0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12F8E7D5-5093-4539-8453-B86F5A6CFF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E13BD8AD-968E-4F00-B528-1F2CCAD972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539834C3-1DA0-4496-AF69-A91E05247A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2</c:v>
                </c:pt>
                <c:pt idx="1">
                  <c:v>3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2%</c:v>
                  </c:pt>
                  <c:pt idx="1">
                    <c:v>38%</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24D658F7-0F6B-4B60-949E-BE2FE916D1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93FE7EB3-BFCD-460C-88CF-FB7FD5E95E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0</c:v>
                </c:pt>
                <c:pt idx="1">
                  <c:v>5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0%</c:v>
                  </c:pt>
                  <c:pt idx="1">
                    <c:v>50%</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59573663-AAE0-4EE0-87A5-C54A2B6A30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3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0%q</c:v>
                  </c:pt>
                  <c:pt idx="1">
                    <c:v>30%p</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3E00C83C-8107-44D5-A930-235189184C5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DCBFE9B1-B183-457C-8006-2EA736A6EC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9</c:v>
                </c:pt>
                <c:pt idx="1">
                  <c:v>34</c:v>
                </c:pt>
                <c:pt idx="2">
                  <c:v>1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6</c:v>
                </c:pt>
                <c:pt idx="2">
                  <c:v>1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15DC8A95-96B7-42A4-AD46-3D7BD13923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315F46BE-1A7F-4AAA-9B2A-1A8ECEBE53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5A8107FD-A9B7-42DE-A490-93DAAC450A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969D8777-1B96-448B-9606-8B85CFC838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6A7BC636-36AB-4F99-9CC8-6641285062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BF768C0B-825E-4567-BB13-2B4312F690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4</c:v>
                </c:pt>
                <c:pt idx="1">
                  <c:v>5</c:v>
                </c:pt>
                <c:pt idx="2">
                  <c:v>66</c:v>
                </c:pt>
                <c:pt idx="3">
                  <c:v>33</c:v>
                </c:pt>
                <c:pt idx="4">
                  <c:v>17</c:v>
                </c:pt>
                <c:pt idx="5">
                  <c:v>13</c:v>
                </c:pt>
                <c:pt idx="6">
                  <c:v>1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4%</c:v>
                  </c:pt>
                  <c:pt idx="1">
                    <c:v>5%</c:v>
                  </c:pt>
                  <c:pt idx="2">
                    <c:v>66%</c:v>
                  </c:pt>
                  <c:pt idx="3">
                    <c:v>33%</c:v>
                  </c:pt>
                  <c:pt idx="4">
                    <c:v>17%</c:v>
                  </c:pt>
                  <c:pt idx="5">
                    <c:v>13%</c:v>
                  </c:pt>
                  <c:pt idx="6">
                    <c:v>10%</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r>
                      <a:rPr lang="en-GB"/>
                      <a:t>1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121A-46C7-99A3-C7EC76CE57AC}"/>
                </c:ext>
              </c:extLst>
            </c:dLbl>
            <c:dLbl>
              <c:idx val="2"/>
              <c:tx>
                <c:rich>
                  <a:bodyPr/>
                  <a:lstStyle/>
                  <a:p>
                    <a:r>
                      <a:rPr lang="en-GB"/>
                      <a:t>4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21A-46C7-99A3-C7EC76CE57AC}"/>
                </c:ext>
              </c:extLst>
            </c:dLbl>
            <c:dLbl>
              <c:idx val="3"/>
              <c:tx>
                <c:rich>
                  <a:bodyPr/>
                  <a:lstStyle/>
                  <a:p>
                    <a:fld id="{754CFF54-9BF0-4062-B80D-263653E24A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B253A20B-4710-4472-BC45-97F2007D79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0D72E86F-D2D5-44BF-B749-7AE4F24C24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87E1020F-4616-437C-81D5-DFF8DFF4EE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7</c:v>
                </c:pt>
                <c:pt idx="1">
                  <c:v>12</c:v>
                </c:pt>
                <c:pt idx="2">
                  <c:v>43</c:v>
                </c:pt>
                <c:pt idx="3">
                  <c:v>47</c:v>
                </c:pt>
                <c:pt idx="4">
                  <c:v>8</c:v>
                </c:pt>
                <c:pt idx="5">
                  <c:v>13</c:v>
                </c:pt>
                <c:pt idx="6">
                  <c:v>1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7%</c:v>
                  </c:pt>
                  <c:pt idx="1">
                    <c:v>12%q</c:v>
                  </c:pt>
                  <c:pt idx="2">
                    <c:v>43%p</c:v>
                  </c:pt>
                  <c:pt idx="3">
                    <c:v>47%</c:v>
                  </c:pt>
                  <c:pt idx="4">
                    <c:v>8%</c:v>
                  </c:pt>
                  <c:pt idx="5">
                    <c:v>13%</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41</c:v>
                </c:pt>
                <c:pt idx="2">
                  <c:v>4</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4</c:v>
                </c:pt>
                <c:pt idx="1">
                  <c:v>42</c:v>
                </c:pt>
                <c:pt idx="2">
                  <c:v>4</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90%</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8</c:v>
                </c:pt>
                <c:pt idx="1">
                  <c:v>0.87</c:v>
                </c:pt>
                <c:pt idx="2">
                  <c:v>0.91</c:v>
                </c:pt>
                <c:pt idx="3">
                  <c:v>0.91</c:v>
                </c:pt>
                <c:pt idx="4">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4B10E265-CBCE-43C9-8EFD-D710CDE1E81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50BF6441-539D-4CDE-B023-D2BE2DD1FBD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08502945-0AE2-4DC4-BF41-9F67D400110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A0BF76A3-4453-40DE-96A7-31760A8AA3B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2</c:v>
                </c:pt>
                <c:pt idx="1">
                  <c:v>0.13</c:v>
                </c:pt>
                <c:pt idx="2">
                  <c:v>0.09</c:v>
                </c:pt>
                <c:pt idx="3">
                  <c:v>0.09</c:v>
                </c:pt>
                <c:pt idx="4">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87%</c:v>
                  </c:pt>
                  <c:pt idx="2">
                    <c:v>91%</c:v>
                  </c:pt>
                  <c:pt idx="3">
                    <c:v>91%</c:v>
                  </c:pt>
                  <c:pt idx="4">
                    <c:v>92%</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RBY AND DERBY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RBY AND DERBY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RBY AND DERBY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RBY AND DERBY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ERBY AND DERBY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000" b="0" dirty="0">
                <a:solidFill>
                  <a:prstClr val="white"/>
                </a:solidFill>
                <a:latin typeface="Arial Black" panose="020B0A04020102020204" pitchFamily="34" charset="0"/>
              </a:rPr>
              <a:t>DERBY AND DERBYSHIRE INTEGRATED CARE SYSTEM</a:t>
            </a:r>
            <a:endParaRPr lang="en-GB" sz="30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4869130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18281400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2751786"/>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241718783"/>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DERBY AND DERBY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1328015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98513186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1% of respondents who were marked as Type 1 in the sample selected ‘Type 1’, 7% selected ‘Type 2’, 1% selected ‘Other’ and -% selected ‘I don’t know’ ​</a:t>
            </a:r>
          </a:p>
          <a:p>
            <a:pPr marL="171450" indent="-171450">
              <a:buFont typeface="Arial" panose="020B0604020202020204" pitchFamily="34" charset="0"/>
              <a:buChar char="•"/>
              <a:defRPr/>
            </a:pPr>
            <a:r>
              <a:rPr lang="en-GB" sz="1200" dirty="0">
                <a:solidFill>
                  <a:schemeClr val="tx1"/>
                </a:solidFill>
                <a:effectLst/>
              </a:rPr>
              <a:t>88% of respondents who were marked as Type 2 in the sample selected ‘Type 2’, 5%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99); Type 2, ICS (56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040299426"/>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274841637"/>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4271392089"/>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401691165"/>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65991411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6); Type 2, National (19,941), ICS (478))</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70029421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72644074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58); Type 2, National (22,278), ICS (516))</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72196009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82409868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41); Type 2, National (21,082), ICS (495))</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04824159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02721360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98); Type 2, National (24,180), ICS (563))</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036977044"/>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591004025"/>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762611274"/>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59379408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99913747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83); Type 2, National (22,482), ICS (531))</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4721240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00168049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40278686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27249551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77952786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416792139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9476859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57082547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49367356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89); Type 2, National (22,670), ICS (535))</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32154152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6037223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8506301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77847325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1683613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412698125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86039354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5415594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4757284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97); Type 2, National (24,076), ICS (561))</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79926017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91676025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5133252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71176231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83857393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4308729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43926740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51796418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99); Type 2, National (24,153), ICS (559))</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45762748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75597708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58174032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09926577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98005882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3102272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23607895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53312330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40757286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99); Type 2, National (24,135), ICS (55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411548511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417915484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60818566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6207602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85559968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61738281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45840504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17389414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0627684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9); Type 2, National (24,084), ICS (55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76542212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12548574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24652018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40314034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77901191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401026448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96890755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02799552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85533521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8); Type 2, National (24,070), ICS (55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58534857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85025335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78221597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551197202"/>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4288512526"/>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86304940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218938194"/>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40967276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89173621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8); Type 2, National (24,260), ICS (56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3887414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5783882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46908659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7488727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34182381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01219385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99137586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18855481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5278880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99); Type 2, National (24,267), ICS (56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42743517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27097945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7946517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3148000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53437819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85348574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76235231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94295839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78448618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9); Type 2, National (24,196), ICS (55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68809979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20592515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85887494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97); Type 2, National (24,019), ICS (560))</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58496483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56324864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74); Type 2, National (11,860), ICS (264))</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8599165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65680962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87); Type 2, National (21,228), ICS (492))</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03401882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26937389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83); Type 2, National (20,915), ICS (490))</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16600235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62310514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59); Type 2, National (20,086), ICS (45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679442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73117146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1); Type 2, National (21,890), ICS (511))</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03869486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120556559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52); Type 2, National (18,585), ICS (432))</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03303475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30352311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89316662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86482522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51903233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69385000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4204748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2912228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92); Type 2, National (22,580), ICS (522))</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44019275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12829259"/>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718859583"/>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45505899"/>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4083246250"/>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7334062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4); Type 2, National (12,350), ICS (278))</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1201742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798660492"/>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8105274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29407933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64282251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71417291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49971829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29790810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81); Type 2, National (10,911), ICS (24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13701065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8472758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89212403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638095384"/>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641820852"/>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88695621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822348404"/>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87))</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47384280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97688025"/>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952336088"/>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027519252"/>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95073000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440012872"/>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32))</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DERBY AND DERBY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374</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70</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1%</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00</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70</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38</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36</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75400577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764032290"/>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498355930"/>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102759866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852211870"/>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566261751"/>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931682270"/>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DERBY AND DERBY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29575570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Describing their experience at the last annual review as good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3567811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60571014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5818267"/>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3</TotalTime>
  <Words>5275</Words>
  <Application>Microsoft Office PowerPoint</Application>
  <PresentationFormat>Widescreen</PresentationFormat>
  <Paragraphs>806</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HelveticaNeueLT Std Lt Cn</vt:lpstr>
      <vt:lpstr>Arial</vt:lpstr>
      <vt:lpstr>Wingdings 3</vt:lpstr>
      <vt:lpstr>Barlow</vt:lpstr>
      <vt:lpstr>Segoe UI</vt:lpstr>
      <vt:lpstr>Arial (Body)</vt:lpstr>
      <vt:lpstr>Roboto</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5</cp:revision>
  <cp:lastPrinted>2024-09-17T13:37:47Z</cp:lastPrinted>
  <dcterms:created xsi:type="dcterms:W3CDTF">2024-06-17T14:42:21Z</dcterms:created>
  <dcterms:modified xsi:type="dcterms:W3CDTF">2024-12-04T11:5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